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4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0-4A72-8419-B5D68B6717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B0-4A72-8419-B5D68B6717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B0-4A72-8419-B5D68B6717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B0-4A72-8419-B5D68B6717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B0-4A72-8419-B5D68B67170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B0-4A72-8419-B5D68B671700}"/>
              </c:ext>
            </c:extLst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Logo</c:v>
                </c:pt>
                <c:pt idx="1">
                  <c:v>Logo</c:v>
                </c:pt>
                <c:pt idx="2">
                  <c:v>Logo</c:v>
                </c:pt>
                <c:pt idx="3">
                  <c:v>Logo</c:v>
                </c:pt>
                <c:pt idx="4">
                  <c:v>Logo</c:v>
                </c:pt>
                <c:pt idx="5">
                  <c:v>Logo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4</c:v>
                </c:pt>
                <c:pt idx="1">
                  <c:v>0.51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1B0-4A72-8419-B5D68B6717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100"/>
        <c:axId val="744375864"/>
        <c:axId val="744376520"/>
      </c:barChart>
      <c:catAx>
        <c:axId val="744375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6520"/>
        <c:crosses val="autoZero"/>
        <c:auto val="1"/>
        <c:lblAlgn val="ctr"/>
        <c:lblOffset val="100"/>
        <c:noMultiLvlLbl val="0"/>
      </c:catAx>
      <c:valAx>
        <c:axId val="744376520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Neue Haas Unica"/>
                <a:cs typeface="Neue Haas Unica"/>
              </a:defRPr>
            </a:pPr>
            <a:endParaRPr lang="en-US"/>
          </a:p>
        </c:txPr>
        <c:crossAx val="74437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Neue Haas Unica"/>
          <a:cs typeface="Neue Haas Unica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900F-78E7-7B8C-31E8-636530825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1647BF7-CE11-B202-E9C7-5201ED0F8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647BF7-CE11-B202-E9C7-5201ED0F8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57E76-BA29-F462-17BC-C86DD5FFF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694D4A8-2554-A49A-BE21-C887356D8D7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271A5A2-D29E-FCBD-6D34-96ECFE612DB6}"/>
              </a:ext>
            </a:extLst>
          </p:cNvPr>
          <p:cNvGraphicFramePr>
            <a:graphicFrameLocks/>
          </p:cNvGraphicFramePr>
          <p:nvPr/>
        </p:nvGraphicFramePr>
        <p:xfrm>
          <a:off x="419099" y="1033696"/>
          <a:ext cx="10667999" cy="463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578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7</TotalTime>
  <Words>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43</cp:revision>
  <dcterms:created xsi:type="dcterms:W3CDTF">2021-03-31T02:49:57Z</dcterms:created>
  <dcterms:modified xsi:type="dcterms:W3CDTF">2025-10-16T10:49:14Z</dcterms:modified>
  <cp:category/>
</cp:coreProperties>
</file>